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</p:sldIdLst>
  <p:sldSz cx="12192000" cy="6858000"/>
  <p:notesSz cx="6858000" cy="9144000"/>
  <p:custDataLst>
    <p:tags r:id="rId4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d" id="{B6F56A15-EC68-4FDB-A748-2AB4884B8A79}">
          <p14:sldIdLst>
            <p14:sldId id="257"/>
          </p14:sldIdLst>
        </p14:section>
        <p14:section name="imperator" id="{526B28B9-53ED-413B-9B68-FC2009F7BD37}">
          <p14:sldIdLst>
            <p14:sldId id="2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59FF25-B0E8-41FF-AFB5-78C3F3E36CF7}" v="7" dt="2022-05-26T10:52:26.6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 showGuides="1">
      <p:cViewPr varScale="1">
        <p:scale>
          <a:sx n="122" d="100"/>
          <a:sy n="122" d="100"/>
        </p:scale>
        <p:origin x="451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-Hugues Michot" userId="691ef933-573e-4111-bd43-183b891f42a8" providerId="ADAL" clId="{3E59FF25-B0E8-41FF-AFB5-78C3F3E36CF7}"/>
    <pc:docChg chg="undo custSel addSld delSld modSld sldOrd">
      <pc:chgData name="Pierre-Hugues Michot" userId="691ef933-573e-4111-bd43-183b891f42a8" providerId="ADAL" clId="{3E59FF25-B0E8-41FF-AFB5-78C3F3E36CF7}" dt="2022-05-26T10:52:29.374" v="220" actId="5793"/>
      <pc:docMkLst>
        <pc:docMk/>
      </pc:docMkLst>
      <pc:sldChg chg="addSp modSp del mod">
        <pc:chgData name="Pierre-Hugues Michot" userId="691ef933-573e-4111-bd43-183b891f42a8" providerId="ADAL" clId="{3E59FF25-B0E8-41FF-AFB5-78C3F3E36CF7}" dt="2022-05-26T10:51:50.598" v="171" actId="2696"/>
        <pc:sldMkLst>
          <pc:docMk/>
          <pc:sldMk cId="3118164107" sldId="256"/>
        </pc:sldMkLst>
        <pc:spChg chg="add mod">
          <ac:chgData name="Pierre-Hugues Michot" userId="691ef933-573e-4111-bd43-183b891f42a8" providerId="ADAL" clId="{3E59FF25-B0E8-41FF-AFB5-78C3F3E36CF7}" dt="2022-05-26T10:51:18.528" v="149" actId="1076"/>
          <ac:spMkLst>
            <pc:docMk/>
            <pc:sldMk cId="3118164107" sldId="256"/>
            <ac:spMk id="4" creationId="{FC75CA5C-668A-4874-87F9-E7C5214906B0}"/>
          </ac:spMkLst>
        </pc:spChg>
        <pc:spChg chg="add mod">
          <ac:chgData name="Pierre-Hugues Michot" userId="691ef933-573e-4111-bd43-183b891f42a8" providerId="ADAL" clId="{3E59FF25-B0E8-41FF-AFB5-78C3F3E36CF7}" dt="2022-05-26T10:48:43.569" v="41" actId="20577"/>
          <ac:spMkLst>
            <pc:docMk/>
            <pc:sldMk cId="3118164107" sldId="256"/>
            <ac:spMk id="5" creationId="{F9681DAF-BEBA-4541-A827-9EC09BA78C86}"/>
          </ac:spMkLst>
        </pc:spChg>
        <pc:spChg chg="add mod">
          <ac:chgData name="Pierre-Hugues Michot" userId="691ef933-573e-4111-bd43-183b891f42a8" providerId="ADAL" clId="{3E59FF25-B0E8-41FF-AFB5-78C3F3E36CF7}" dt="2022-05-26T10:48:41.105" v="39" actId="20577"/>
          <ac:spMkLst>
            <pc:docMk/>
            <pc:sldMk cId="3118164107" sldId="256"/>
            <ac:spMk id="6" creationId="{86C5DE13-3B73-4477-A51E-9CDCEB8300B1}"/>
          </ac:spMkLst>
        </pc:spChg>
        <pc:spChg chg="add mod">
          <ac:chgData name="Pierre-Hugues Michot" userId="691ef933-573e-4111-bd43-183b891f42a8" providerId="ADAL" clId="{3E59FF25-B0E8-41FF-AFB5-78C3F3E36CF7}" dt="2022-05-26T10:51:49.641" v="168" actId="12"/>
          <ac:spMkLst>
            <pc:docMk/>
            <pc:sldMk cId="3118164107" sldId="256"/>
            <ac:spMk id="14" creationId="{59EB63FC-928E-4090-926E-2E2514EE1803}"/>
          </ac:spMkLst>
        </pc:spChg>
        <pc:cxnChg chg="add mod">
          <ac:chgData name="Pierre-Hugues Michot" userId="691ef933-573e-4111-bd43-183b891f42a8" providerId="ADAL" clId="{3E59FF25-B0E8-41FF-AFB5-78C3F3E36CF7}" dt="2022-05-26T10:51:18.528" v="149" actId="1076"/>
          <ac:cxnSpMkLst>
            <pc:docMk/>
            <pc:sldMk cId="3118164107" sldId="256"/>
            <ac:cxnSpMk id="8" creationId="{7CA1D424-7BC7-4325-AC0C-34DF300B7B56}"/>
          </ac:cxnSpMkLst>
        </pc:cxnChg>
        <pc:cxnChg chg="add mod">
          <ac:chgData name="Pierre-Hugues Michot" userId="691ef933-573e-4111-bd43-183b891f42a8" providerId="ADAL" clId="{3E59FF25-B0E8-41FF-AFB5-78C3F3E36CF7}" dt="2022-05-26T10:51:18.528" v="149" actId="1076"/>
          <ac:cxnSpMkLst>
            <pc:docMk/>
            <pc:sldMk cId="3118164107" sldId="256"/>
            <ac:cxnSpMk id="9" creationId="{73EE0F37-DDA4-47AE-8296-58E18DA34582}"/>
          </ac:cxnSpMkLst>
        </pc:cxnChg>
      </pc:sldChg>
      <pc:sldChg chg="addSp modSp add mod ord">
        <pc:chgData name="Pierre-Hugues Michot" userId="691ef933-573e-4111-bd43-183b891f42a8" providerId="ADAL" clId="{3E59FF25-B0E8-41FF-AFB5-78C3F3E36CF7}" dt="2022-05-26T10:52:29.374" v="220" actId="5793"/>
        <pc:sldMkLst>
          <pc:docMk/>
          <pc:sldMk cId="1099219634" sldId="257"/>
        </pc:sldMkLst>
        <pc:spChg chg="add mod">
          <ac:chgData name="Pierre-Hugues Michot" userId="691ef933-573e-4111-bd43-183b891f42a8" providerId="ADAL" clId="{3E59FF25-B0E8-41FF-AFB5-78C3F3E36CF7}" dt="2022-05-26T10:52:29.374" v="220" actId="5793"/>
          <ac:spMkLst>
            <pc:docMk/>
            <pc:sldMk cId="1099219634" sldId="257"/>
            <ac:spMk id="2" creationId="{E0188C7F-47D0-4933-B0E9-D57E25CC393B}"/>
          </ac:spMkLst>
        </pc:spChg>
        <pc:spChg chg="mod">
          <ac:chgData name="Pierre-Hugues Michot" userId="691ef933-573e-4111-bd43-183b891f42a8" providerId="ADAL" clId="{3E59FF25-B0E8-41FF-AFB5-78C3F3E36CF7}" dt="2022-05-26T10:52:06.803" v="212" actId="20577"/>
          <ac:spMkLst>
            <pc:docMk/>
            <pc:sldMk cId="1099219634" sldId="257"/>
            <ac:spMk id="14" creationId="{59EB63FC-928E-4090-926E-2E2514EE1803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45B9D-F42A-4D2F-92B4-903E07ED36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63D6FA-E896-45EE-B242-916288C174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AD8584-27DF-4718-8B80-CECDD37F6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CE1F9-68B9-4705-AFC2-1C7EF9365F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909D69-AA4E-4527-9066-0BE9C82E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902561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70196-0254-4697-A5C0-A3980E45F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FD1D97-CB60-41B9-B949-6AB65147D8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D2F2BD-D3A2-4F91-BAF7-CF57980138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97F55-7CAB-4CE1-9609-C216871FA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3751F-7A55-4FE0-91D8-884040E8E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84177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3A8225-7CD3-4646-9816-2BE2BB2A13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45EB56-3345-4E20-A37C-169B11E7CA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1B3A19-CAA8-42BB-BCBA-9E00A7A09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96FD-3E71-4DE3-9A25-6734F3010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AAEBAA-079C-4840-BA18-E1F2504E8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26449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B4119-8DC1-46FA-8936-8FEFE37A5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49EFC4-3A95-4ADE-A9B1-08A87916B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102196-8193-497C-992A-FBF9B28C97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FDB28D-D1CB-4742-A39A-2A0BF9527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D776D-C76E-412A-BF25-2F62A40DD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5038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4D54F-664B-4827-B191-8650D8E09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3C6429-D5ED-489C-A325-49518C3D36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536758-3577-4DD1-8A53-E6440728B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85D3D-B694-4164-B47D-56ADE9AB7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29BBFE-4C9B-4FF0-AF44-20928BE4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79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F0C55-0246-4D23-BAF4-65C390275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399EEB-9BA9-4776-A8D6-3C0BF173B1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7F0C29-A7C0-47E7-A729-4631A7CF91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7DE7F6-DB1E-42FD-9268-893E900AE6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EFE4B0-3FEA-46EB-9D79-E29C21810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672557-0286-4F6F-B71C-9C72504A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53739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EFF1D-231E-4075-8A87-31945FA2D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D42C55-3C2B-4208-B77D-0F01F5E5F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F84F37-5B5A-4750-AF96-82A77252A5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FD24E8-D018-4D3B-9891-BC6A156C5E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B9402C-5D46-457B-A2AB-771CC1B2F8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3A5551A-BA17-4D95-906E-DCC0A60E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D712A9F-6EC5-4F31-A400-BA950441B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8942CF-A1F8-4315-8363-A9311CAAB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02624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0B517-E95C-4E0E-B490-49727E020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5354AE-916F-45B6-97CA-E344D7F58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0AA242-C673-4E58-99CA-BE39D8FA1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037528-97D1-4B28-BFAB-5B11D203D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80589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54647C-916E-47B6-9DBA-D2264C9D4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41C4C9-5C45-4C54-B910-7549775AB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D06AE3-42A2-49BB-8E06-1454F9AD8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315316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6EF1D-AD37-489E-B93E-10F785AC6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E67A6-CA44-4FFD-9274-8849FBC402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D3CDC0-06DF-4BA8-B34E-C6E6570366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B69C76-FAF3-4496-8F2A-DEDDD96B9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35C0BF-3CAB-4383-9091-996806009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668C3A-1A44-4EB2-AB67-A2240A206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60766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62336-7F50-4DC8-BDC6-15CFC9BD2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AAEAEC-8A40-433A-A7B4-8DBA36B9D0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4162A9-7626-4282-8242-098986162C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8641EA-CF2A-428F-B5A3-26CBF9AEE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872E3A-309A-4C82-BB3B-A4C7F5E9F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8B0127-FC3A-4FB8-85EE-CEFD291C7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64355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F6DE6-8A10-49AB-86DE-31ECA61B8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489EE1-D4CC-4AC8-A936-49553D7083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288349-BE36-4253-BE07-319C8BE560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785629-72FB-4BD8-A888-872F3B8BC806}" type="datetimeFigureOut">
              <a:rPr lang="en-DE" smtClean="0"/>
              <a:t>23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0D5B33-C8E2-4BC6-AB83-6C42B98F3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394E4-681A-4BAA-A7DB-13EC970036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573DC3-912A-4ACD-B401-DCDCB70EF517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30298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Internal Storage 3">
            <a:extLst>
              <a:ext uri="{FF2B5EF4-FFF2-40B4-BE49-F238E27FC236}">
                <a16:creationId xmlns:a16="http://schemas.microsoft.com/office/drawing/2014/main" id="{FC75CA5C-668A-4874-87F9-E7C5214906B0}"/>
              </a:ext>
            </a:extLst>
          </p:cNvPr>
          <p:cNvSpPr/>
          <p:nvPr/>
        </p:nvSpPr>
        <p:spPr>
          <a:xfrm>
            <a:off x="3293654" y="643855"/>
            <a:ext cx="2550253" cy="2785145"/>
          </a:xfrm>
          <a:prstGeom prst="flowChartInternal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tlCol="0" anchor="t" anchorCtr="0"/>
          <a:lstStyle/>
          <a:p>
            <a:pPr algn="ctr"/>
            <a:r>
              <a:rPr lang="en-DE" dirty="0"/>
              <a:t>parser.py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de-DE" dirty="0"/>
              <a:t>L</a:t>
            </a:r>
            <a:r>
              <a:rPr lang="en-DE" dirty="0" err="1"/>
              <a:t>oad</a:t>
            </a:r>
            <a:r>
              <a:rPr lang="en-DE" dirty="0"/>
              <a:t> fil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de-DE" dirty="0"/>
              <a:t>L</a:t>
            </a:r>
            <a:r>
              <a:rPr lang="en-DE" dirty="0" err="1"/>
              <a:t>ist</a:t>
            </a:r>
            <a:r>
              <a:rPr lang="en-DE" dirty="0"/>
              <a:t> objects instances and properties</a:t>
            </a:r>
          </a:p>
        </p:txBody>
      </p:sp>
      <p:sp>
        <p:nvSpPr>
          <p:cNvPr id="5" name="Flowchart: Magnetic Disk 4">
            <a:extLst>
              <a:ext uri="{FF2B5EF4-FFF2-40B4-BE49-F238E27FC236}">
                <a16:creationId xmlns:a16="http://schemas.microsoft.com/office/drawing/2014/main" id="{F9681DAF-BEBA-4541-A827-9EC09BA78C86}"/>
              </a:ext>
            </a:extLst>
          </p:cNvPr>
          <p:cNvSpPr/>
          <p:nvPr/>
        </p:nvSpPr>
        <p:spPr>
          <a:xfrm>
            <a:off x="587229" y="830510"/>
            <a:ext cx="1333850" cy="1065402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 dirty="0"/>
              <a:t>dictionaries.py</a:t>
            </a:r>
          </a:p>
        </p:txBody>
      </p:sp>
      <p:sp>
        <p:nvSpPr>
          <p:cNvPr id="6" name="Flowchart: Magnetic Disk 5">
            <a:extLst>
              <a:ext uri="{FF2B5EF4-FFF2-40B4-BE49-F238E27FC236}">
                <a16:creationId xmlns:a16="http://schemas.microsoft.com/office/drawing/2014/main" id="{86C5DE13-3B73-4477-A51E-9CDCEB8300B1}"/>
              </a:ext>
            </a:extLst>
          </p:cNvPr>
          <p:cNvSpPr/>
          <p:nvPr/>
        </p:nvSpPr>
        <p:spPr>
          <a:xfrm>
            <a:off x="647350" y="2141989"/>
            <a:ext cx="1333850" cy="1065402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 dirty="0"/>
              <a:t>functions.py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CA1D424-7BC7-4325-AC0C-34DF300B7B56}"/>
              </a:ext>
            </a:extLst>
          </p:cNvPr>
          <p:cNvCxnSpPr>
            <a:stCxn id="5" idx="4"/>
            <a:endCxn id="4" idx="1"/>
          </p:cNvCxnSpPr>
          <p:nvPr/>
        </p:nvCxnSpPr>
        <p:spPr>
          <a:xfrm>
            <a:off x="1921079" y="1363211"/>
            <a:ext cx="1372575" cy="673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3EE0F37-DDA4-47AE-8296-58E18DA34582}"/>
              </a:ext>
            </a:extLst>
          </p:cNvPr>
          <p:cNvCxnSpPr>
            <a:cxnSpLocks/>
            <a:stCxn id="6" idx="4"/>
            <a:endCxn id="4" idx="1"/>
          </p:cNvCxnSpPr>
          <p:nvPr/>
        </p:nvCxnSpPr>
        <p:spPr>
          <a:xfrm flipV="1">
            <a:off x="1981200" y="2036428"/>
            <a:ext cx="1312454" cy="6382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owchart: Internal Storage 13">
            <a:extLst>
              <a:ext uri="{FF2B5EF4-FFF2-40B4-BE49-F238E27FC236}">
                <a16:creationId xmlns:a16="http://schemas.microsoft.com/office/drawing/2014/main" id="{59EB63FC-928E-4090-926E-2E2514EE1803}"/>
              </a:ext>
            </a:extLst>
          </p:cNvPr>
          <p:cNvSpPr/>
          <p:nvPr/>
        </p:nvSpPr>
        <p:spPr>
          <a:xfrm>
            <a:off x="6881981" y="643855"/>
            <a:ext cx="2550253" cy="2785145"/>
          </a:xfrm>
          <a:prstGeom prst="flowChartInternal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tlCol="0" anchor="t" anchorCtr="0"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Font typeface="Arial" panose="020B0604020202020204" pitchFamily="34" charset="0"/>
              <a:buChar char="•"/>
            </a:lvl3pPr>
            <a:lvl4pPr>
              <a:buFont typeface="Arial" panose="020B0604020202020204" pitchFamily="34" charset="0"/>
              <a:buChar char="•"/>
            </a:lvl4pPr>
            <a:lvl5pPr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>
              <a:buFont typeface="Arial" panose="020B0604020202020204" pitchFamily="34" charset="0"/>
              <a:buChar char="•"/>
            </a:lvl9pPr>
          </a:lstStyle>
          <a:p>
            <a:pPr algn="ctr">
              <a:buNone/>
            </a:pPr>
            <a:r>
              <a:rPr lang="de-DE" dirty="0"/>
              <a:t>O</a:t>
            </a:r>
            <a:r>
              <a:rPr lang="en-DE" dirty="0"/>
              <a:t>utput.py</a:t>
            </a:r>
          </a:p>
          <a:p>
            <a:pPr marL="285750" indent="-285750" algn="ctr"/>
            <a:r>
              <a:rPr lang="de-DE" dirty="0"/>
              <a:t>P</a:t>
            </a:r>
            <a:r>
              <a:rPr lang="en-DE" dirty="0" err="1"/>
              <a:t>repare</a:t>
            </a:r>
            <a:r>
              <a:rPr lang="en-DE" dirty="0"/>
              <a:t> one CSV per object type</a:t>
            </a:r>
          </a:p>
          <a:p>
            <a:pPr marL="285750" indent="-285750" algn="ctr"/>
            <a:endParaRPr lang="en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188C7F-47D0-4933-B0E9-D57E25CC393B}"/>
              </a:ext>
            </a:extLst>
          </p:cNvPr>
          <p:cNvSpPr txBox="1"/>
          <p:nvPr/>
        </p:nvSpPr>
        <p:spPr>
          <a:xfrm>
            <a:off x="1126836" y="4636655"/>
            <a:ext cx="640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</a:t>
            </a:r>
            <a:r>
              <a:rPr lang="en-DE" dirty="0" err="1"/>
              <a:t>odos</a:t>
            </a:r>
            <a:r>
              <a:rPr lang="en-DE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0992196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010B92BD-A2BF-E572-52F2-0568ACE41148}"/>
              </a:ext>
            </a:extLst>
          </p:cNvPr>
          <p:cNvSpPr/>
          <p:nvPr/>
        </p:nvSpPr>
        <p:spPr>
          <a:xfrm>
            <a:off x="131523" y="608008"/>
            <a:ext cx="2624203" cy="460957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Files &amp; Data managemen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96D327C-89BC-1D96-1095-9011925832EA}"/>
              </a:ext>
            </a:extLst>
          </p:cNvPr>
          <p:cNvSpPr/>
          <p:nvPr/>
        </p:nvSpPr>
        <p:spPr>
          <a:xfrm>
            <a:off x="4149246" y="3384973"/>
            <a:ext cx="2279737" cy="2981194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Toolbox (Map &amp; localize)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055884-417C-DD49-DFD6-6AAD8897D1F8}"/>
              </a:ext>
            </a:extLst>
          </p:cNvPr>
          <p:cNvSpPr/>
          <p:nvPr/>
        </p:nvSpPr>
        <p:spPr>
          <a:xfrm>
            <a:off x="4149245" y="93759"/>
            <a:ext cx="2279737" cy="312353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E</a:t>
            </a:r>
            <a:r>
              <a:rPr lang="en-DE" dirty="0" err="1"/>
              <a:t>xtract</a:t>
            </a:r>
            <a:endParaRPr lang="en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79BF270-4628-4B13-7856-59952DF97F8D}"/>
              </a:ext>
            </a:extLst>
          </p:cNvPr>
          <p:cNvSpPr txBox="1"/>
          <p:nvPr/>
        </p:nvSpPr>
        <p:spPr>
          <a:xfrm>
            <a:off x="4197785" y="430195"/>
            <a:ext cx="2002599" cy="267765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ountries</a:t>
            </a:r>
            <a:r>
              <a:rPr lang="en-DE" sz="1200" dirty="0"/>
              <a:t>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</a:t>
            </a:r>
            <a:r>
              <a:rPr lang="en-DE" sz="1200" dirty="0" err="1"/>
              <a:t>tates</a:t>
            </a:r>
            <a:r>
              <a:rPr lang="en-DE" sz="1200" dirty="0"/>
              <a:t>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</a:t>
            </a:r>
            <a:r>
              <a:rPr lang="en-DE" sz="1200" dirty="0" err="1"/>
              <a:t>rovinces</a:t>
            </a:r>
            <a:r>
              <a:rPr lang="en-DE" sz="1200" dirty="0"/>
              <a:t>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</a:t>
            </a:r>
            <a:r>
              <a:rPr lang="en-DE" sz="1200" dirty="0"/>
              <a:t>op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Wonders &amp; treasures</a:t>
            </a:r>
          </a:p>
          <a:p>
            <a:r>
              <a:rPr lang="en-DE" sz="1200" dirty="0"/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haracters</a:t>
            </a:r>
            <a:r>
              <a:rPr lang="en-DE" sz="1200" dirty="0"/>
              <a:t>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</a:t>
            </a:r>
            <a:r>
              <a:rPr lang="en-DE" sz="1200" dirty="0" err="1"/>
              <a:t>uler</a:t>
            </a:r>
            <a:r>
              <a:rPr lang="en-DE" sz="1200" dirty="0"/>
              <a:t> Term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F</a:t>
            </a:r>
            <a:r>
              <a:rPr lang="en-DE" sz="1200" dirty="0" err="1"/>
              <a:t>amilies</a:t>
            </a:r>
            <a:endParaRPr lang="en-DE" sz="1200" dirty="0"/>
          </a:p>
          <a:p>
            <a:r>
              <a:rPr lang="en-DE" sz="1200" dirty="0"/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War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Battle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Leg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2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C80A0C6-BDF0-91F8-7BBD-D94DD41DF6ED}"/>
              </a:ext>
            </a:extLst>
          </p:cNvPr>
          <p:cNvSpPr txBox="1"/>
          <p:nvPr/>
        </p:nvSpPr>
        <p:spPr>
          <a:xfrm>
            <a:off x="4352794" y="5264190"/>
            <a:ext cx="1922746" cy="83099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G</a:t>
            </a:r>
            <a:r>
              <a:rPr lang="en-DE" sz="1200" dirty="0" err="1"/>
              <a:t>eography</a:t>
            </a:r>
            <a:r>
              <a:rPr lang="en-DE" sz="1200" dirty="0"/>
              <a:t>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Countries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Gov(</a:t>
            </a:r>
            <a:r>
              <a:rPr lang="en-DE" sz="1200" dirty="0" err="1"/>
              <a:t>ernment</a:t>
            </a:r>
            <a:r>
              <a:rPr lang="en-DE" sz="1200" dirty="0"/>
              <a:t>)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Culture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D730D0D-5751-D562-FACA-4DF4847AD8B6}"/>
              </a:ext>
            </a:extLst>
          </p:cNvPr>
          <p:cNvSpPr txBox="1"/>
          <p:nvPr/>
        </p:nvSpPr>
        <p:spPr>
          <a:xfrm>
            <a:off x="239558" y="995819"/>
            <a:ext cx="2141951" cy="83099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DE"/>
            </a:defPPr>
            <a:lvl1pPr>
              <a:defRPr sz="1200"/>
            </a:lvl1pPr>
          </a:lstStyle>
          <a:p>
            <a:r>
              <a:rPr lang="en-US" dirty="0"/>
              <a:t>A</a:t>
            </a:r>
            <a:r>
              <a:rPr lang="en-DE" dirty="0" err="1"/>
              <a:t>utosave</a:t>
            </a:r>
            <a:r>
              <a:rPr lang="en-DE" dirty="0"/>
              <a:t> watch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</a:t>
            </a:r>
            <a:r>
              <a:rPr lang="en-DE" dirty="0" err="1"/>
              <a:t>asic</a:t>
            </a:r>
            <a:r>
              <a:rPr lang="en-DE" dirty="0"/>
              <a:t> 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</a:t>
            </a:r>
            <a:r>
              <a:rPr lang="en-DE" dirty="0" err="1"/>
              <a:t>unctions</a:t>
            </a:r>
            <a:endParaRPr lang="en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</a:t>
            </a:r>
            <a:r>
              <a:rPr lang="en-DE" dirty="0"/>
              <a:t>ink w/ game manager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22E9FE7-45E7-40FA-536E-0F3A1208E301}"/>
              </a:ext>
            </a:extLst>
          </p:cNvPr>
          <p:cNvSpPr txBox="1"/>
          <p:nvPr/>
        </p:nvSpPr>
        <p:spPr>
          <a:xfrm>
            <a:off x="239558" y="2039759"/>
            <a:ext cx="2141951" cy="46166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DE"/>
            </a:defPPr>
            <a:lvl1pPr>
              <a:defRPr sz="1200"/>
            </a:lvl1pPr>
          </a:lstStyle>
          <a:p>
            <a:r>
              <a:rPr lang="en-US" dirty="0"/>
              <a:t>L</a:t>
            </a:r>
            <a:r>
              <a:rPr lang="en-DE" dirty="0" err="1"/>
              <a:t>oader</a:t>
            </a:r>
            <a:r>
              <a:rPr lang="en-DE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 dirty="0"/>
              <a:t>to game manage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978F6F9-A01E-D0C9-B2A4-C91384C337D5}"/>
              </a:ext>
            </a:extLst>
          </p:cNvPr>
          <p:cNvSpPr txBox="1"/>
          <p:nvPr/>
        </p:nvSpPr>
        <p:spPr>
          <a:xfrm>
            <a:off x="239558" y="2570968"/>
            <a:ext cx="2141951" cy="64633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DE" sz="1200" dirty="0"/>
              <a:t>can &amp; 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J</a:t>
            </a:r>
            <a:r>
              <a:rPr lang="en-DE" sz="1200" dirty="0"/>
              <a:t>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sv</a:t>
            </a:r>
            <a:endParaRPr lang="en-DE" sz="12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5EFA87-F796-3665-1627-F2B8F90AD2DB}"/>
              </a:ext>
            </a:extLst>
          </p:cNvPr>
          <p:cNvSpPr/>
          <p:nvPr/>
        </p:nvSpPr>
        <p:spPr>
          <a:xfrm>
            <a:off x="8245258" y="3384972"/>
            <a:ext cx="2160740" cy="2981195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Display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B568B88-46AD-597C-FD48-C0FC59A17D4C}"/>
              </a:ext>
            </a:extLst>
          </p:cNvPr>
          <p:cNvSpPr/>
          <p:nvPr/>
        </p:nvSpPr>
        <p:spPr>
          <a:xfrm>
            <a:off x="8245258" y="93760"/>
            <a:ext cx="2160740" cy="3123538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Analyse &amp; visualiz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990C5A6-EBF3-BFEB-BCD6-383F26F1C0AE}"/>
              </a:ext>
            </a:extLst>
          </p:cNvPr>
          <p:cNvSpPr txBox="1"/>
          <p:nvPr/>
        </p:nvSpPr>
        <p:spPr>
          <a:xfrm>
            <a:off x="231730" y="3615469"/>
            <a:ext cx="2141951" cy="1200329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DE" sz="1200" dirty="0"/>
              <a:t>tore &amp; man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urrent</a:t>
            </a:r>
            <a:r>
              <a:rPr lang="en-DE" sz="1200" dirty="0"/>
              <a:t> &amp; past ga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</a:t>
            </a:r>
            <a:r>
              <a:rPr lang="en-DE" sz="1200" dirty="0"/>
              <a:t>emp data (melt, </a:t>
            </a:r>
            <a:r>
              <a:rPr lang="en-DE" sz="1200" dirty="0" err="1"/>
              <a:t>json</a:t>
            </a:r>
            <a:r>
              <a:rPr lang="en-DE" sz="12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E</a:t>
            </a:r>
            <a:r>
              <a:rPr lang="en-DE" sz="1200" dirty="0" err="1"/>
              <a:t>xcel</a:t>
            </a:r>
            <a:r>
              <a:rPr lang="en-DE" sz="1200" dirty="0"/>
              <a:t> 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 sz="12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86BDDAE-4FB2-9D7E-365A-EE3B7F381075}"/>
              </a:ext>
            </a:extLst>
          </p:cNvPr>
          <p:cNvSpPr txBox="1"/>
          <p:nvPr/>
        </p:nvSpPr>
        <p:spPr>
          <a:xfrm>
            <a:off x="4352794" y="4320986"/>
            <a:ext cx="1459282" cy="27699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</a:t>
            </a:r>
            <a:r>
              <a:rPr lang="en-DE" sz="1200" dirty="0" err="1"/>
              <a:t>ar</a:t>
            </a:r>
            <a:r>
              <a:rPr lang="en-DE" sz="1200" dirty="0"/>
              <a:t> names</a:t>
            </a:r>
          </a:p>
        </p:txBody>
      </p:sp>
    </p:spTree>
    <p:extLst>
      <p:ext uri="{BB962C8B-B14F-4D97-AF65-F5344CB8AC3E}">
        <p14:creationId xmlns:p14="http://schemas.microsoft.com/office/powerpoint/2010/main" val="3396881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IAAAAAAAAAAwAAAAMAAAAA/////wQAJwwAAAAAAAAAAAAAIAD///////////////8AAAD///////////////8DAAAAAw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9e7gHhNo1xIiXgDRA3pNxoFAAAAAAADAAAAAwADAAAAAQADAAAAAAD///////8DAAAAAAD///////8DAAAAAAD///////8DAAEA////////BAAAAAMAEAALfYUeA7aL1EOtr+jf1Xw+I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AAP///////w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e7gHhNo1xIiXgDRA3pNxoDRGF0YQAbAAAABExpbmtlZFNoYXBlRGF0YQAFAAAAAAACTmFtZQAZAAAATGlua2VkU2hhcGVzRGF0YVByb3BlcnR5ABBWZXJzaW9uAAAAAAAJTGFzdFdyaXRlAJuC+f+AAQAAAAEA/////8YAxgAAAAVfaWQAEAAAAAR9hR4DtovUQ62v6N/VfD4jA0RhdGEAUwAAAAhQcmVzZW50YXRpb25TY2FubmVkRm9yTGlua2VkU2hhcGVzAAECTnVtYmVyRm9ybWF0U2VwYXJhdG9yTW9kZQAKAAAAQXV0b21hdGljAAACTmFtZQAkAAAATGlua2VkU2hhcGVQcmVzZW50YXRpb25TZXR0aW5nc0RhdGEAEFZlcnNpb24AAAAAAAlMYXN0V3JpdGUA6oL5/4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0</Words>
  <Application>Microsoft Office PowerPoint</Application>
  <PresentationFormat>Breitbild</PresentationFormat>
  <Paragraphs>44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rre-Hugues Michot</dc:creator>
  <cp:lastModifiedBy>Pierre-Hugues Michot</cp:lastModifiedBy>
  <cp:revision>5</cp:revision>
  <dcterms:created xsi:type="dcterms:W3CDTF">2022-05-26T10:46:18Z</dcterms:created>
  <dcterms:modified xsi:type="dcterms:W3CDTF">2024-01-23T11:22:44Z</dcterms:modified>
</cp:coreProperties>
</file>